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08" r:id="rId1"/>
    <p:sldMasterId id="2147483802" r:id="rId2"/>
    <p:sldMasterId id="2147483813" r:id="rId3"/>
  </p:sldMasterIdLst>
  <p:notesMasterIdLst>
    <p:notesMasterId r:id="rId15"/>
  </p:notesMasterIdLst>
  <p:handoutMasterIdLst>
    <p:handoutMasterId r:id="rId16"/>
  </p:handoutMasterIdLst>
  <p:sldIdLst>
    <p:sldId id="1133" r:id="rId4"/>
    <p:sldId id="1134" r:id="rId5"/>
    <p:sldId id="1135" r:id="rId6"/>
    <p:sldId id="1136" r:id="rId7"/>
    <p:sldId id="1137" r:id="rId8"/>
    <p:sldId id="1139" r:id="rId9"/>
    <p:sldId id="1143" r:id="rId10"/>
    <p:sldId id="1138" r:id="rId11"/>
    <p:sldId id="1140" r:id="rId12"/>
    <p:sldId id="1141" r:id="rId13"/>
    <p:sldId id="1142" r:id="rId14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4" pos="7401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orient="horz" pos="3249" userDrawn="1">
          <p15:clr>
            <a:srgbClr val="A4A3A4"/>
          </p15:clr>
        </p15:guide>
        <p15:guide id="10" pos="1844" userDrawn="1">
          <p15:clr>
            <a:srgbClr val="A4A3A4"/>
          </p15:clr>
        </p15:guide>
        <p15:guide id="14" pos="3318" userDrawn="1">
          <p15:clr>
            <a:srgbClr val="A4A3A4"/>
          </p15:clr>
        </p15:guide>
        <p15:guide id="15" pos="4747" userDrawn="1">
          <p15:clr>
            <a:srgbClr val="A4A3A4"/>
          </p15:clr>
        </p15:guide>
        <p15:guide id="16" pos="6040" userDrawn="1">
          <p15:clr>
            <a:srgbClr val="A4A3A4"/>
          </p15:clr>
        </p15:guide>
        <p15:guide id="1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3C78"/>
    <a:srgbClr val="ECF5FB"/>
    <a:srgbClr val="E1EEFF"/>
    <a:srgbClr val="86C3E9"/>
    <a:srgbClr val="FC22C3"/>
    <a:srgbClr val="37AFA9"/>
    <a:srgbClr val="FEB0B2"/>
    <a:srgbClr val="499FD1"/>
    <a:srgbClr val="0361A5"/>
    <a:srgbClr val="008A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34" autoAdjust="0"/>
    <p:restoredTop sz="94302" autoAdjust="0"/>
  </p:normalViewPr>
  <p:slideViewPr>
    <p:cSldViewPr snapToGrid="0">
      <p:cViewPr varScale="1">
        <p:scale>
          <a:sx n="108" d="100"/>
          <a:sy n="108" d="100"/>
        </p:scale>
        <p:origin x="474" y="102"/>
      </p:cViewPr>
      <p:guideLst>
        <p:guide orient="horz" pos="436"/>
        <p:guide pos="302"/>
        <p:guide pos="7401"/>
        <p:guide orient="horz" pos="3725"/>
        <p:guide orient="horz" pos="3249"/>
        <p:guide pos="1844"/>
        <p:guide pos="3318"/>
        <p:guide pos="4747"/>
        <p:guide pos="60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9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5E1740E6-FAAD-458E-8F70-076CE730AACD}" type="datetimeFigureOut">
              <a:rPr lang="ru-RU" smtClean="0"/>
              <a:t>27.11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A9B7E29-9827-4036-968E-B9C584E752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2684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27.1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Титульный слайд">
  <p:cSld name="2_Титульный слайд">
    <p:bg>
      <p:bgPr>
        <a:solidFill>
          <a:srgbClr val="F4F8FA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57" descr="preencoded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447338" y="8731"/>
            <a:ext cx="1752600" cy="116840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57"/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rgbClr val="233C78"/>
                </a:solidFill>
                <a:latin typeface="Calibri"/>
                <a:ea typeface="Calibri"/>
                <a:cs typeface="Calibri"/>
                <a:sym typeface="Calibri"/>
              </a:rPr>
              <a:t>©  Издательство «Просвещение», 2024</a:t>
            </a:r>
            <a:endParaRPr/>
          </a:p>
        </p:txBody>
      </p:sp>
      <p:sp>
        <p:nvSpPr>
          <p:cNvPr id="42" name="Google Shape;42;p57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33C78"/>
              </a:buClr>
              <a:buSzPts val="1400"/>
              <a:buFont typeface="Calibri"/>
              <a:buNone/>
            </a:pPr>
            <a:fld id="{00000000-1234-1234-1234-123412341234}" type="slidenum">
              <a:rPr lang="ru-RU" sz="1400" b="1">
                <a:solidFill>
                  <a:srgbClr val="233C7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400" b="1">
              <a:solidFill>
                <a:srgbClr val="233C7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" name="Google Shape;43;p57"/>
          <p:cNvPicPr preferRelativeResize="0"/>
          <p:nvPr/>
        </p:nvPicPr>
        <p:blipFill rotWithShape="1">
          <a:blip r:embed="rId3">
            <a:alphaModFix/>
          </a:blip>
          <a:srcRect r="65863" b="-13113"/>
          <a:stretch/>
        </p:blipFill>
        <p:spPr>
          <a:xfrm>
            <a:off x="9245948" y="6046950"/>
            <a:ext cx="1513015" cy="5723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Google Shape;44;p57" descr="preencoded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0" y="1676400"/>
            <a:ext cx="996950" cy="1987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45;p57" descr="preencoded.p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8400" y="3968750"/>
            <a:ext cx="863600" cy="175895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5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0" name="Прямоугольник 7"/>
          <p:cNvSpPr/>
          <p:nvPr userDrawn="1"/>
        </p:nvSpPr>
        <p:spPr bwMode="auto">
          <a:xfrm>
            <a:off x="5896266" y="6442524"/>
            <a:ext cx="399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C8B0588C-5D01-654B-9A15-2A6BDD1112E5}" type="slidenum">
              <a:rPr lang="ru-RU" sz="1400" b="1">
                <a:solidFill>
                  <a:srgbClr val="233C78"/>
                </a:solidFill>
                <a:latin typeface="Calibri"/>
                <a:ea typeface="+mn-ea"/>
                <a:cs typeface="+mn-cs"/>
              </a:rPr>
              <a:t>‹#›</a:t>
            </a:fld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57826" y="5999759"/>
            <a:ext cx="8667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7530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3470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51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>
            <a:fillRect/>
          </a:stretch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0804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496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2240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18DADB-8B59-4AFE-9BE9-5D45F1646E26}" type="datetimeFigureOut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7.11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A9230AF-8A3A-4A91-8900-83BD7EB07807}" type="slidenum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620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41498" y="60705"/>
            <a:ext cx="6509003" cy="482600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rgbClr val="28458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40992" y="1969007"/>
            <a:ext cx="8525510" cy="4025265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1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780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8198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920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467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>
            <a:fillRect/>
          </a:stretch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814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174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491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18DADB-8B59-4AFE-9BE9-5D45F1646E26}" type="datetimeFigureOut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7.11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A9230AF-8A3A-4A91-8900-83BD7EB07807}" type="slidenum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074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41498" y="60705"/>
            <a:ext cx="6509003" cy="482600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rgbClr val="28458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40992" y="1969007"/>
            <a:ext cx="8525510" cy="4025265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1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867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9.png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9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buNone/>
              <a:defRPr sz="1300">
                <a:solidFill>
                  <a:schemeClr val="tx1"/>
                </a:solidFill>
              </a:defRPr>
            </a:lvl1pPr>
            <a:lvl2pPr lvl="1" algn="r">
              <a:buNone/>
              <a:defRPr sz="1300">
                <a:solidFill>
                  <a:schemeClr val="tx1"/>
                </a:solidFill>
              </a:defRPr>
            </a:lvl2pPr>
            <a:lvl3pPr lvl="2" algn="r">
              <a:buNone/>
              <a:defRPr sz="1300">
                <a:solidFill>
                  <a:schemeClr val="tx1"/>
                </a:solidFill>
              </a:defRPr>
            </a:lvl3pPr>
            <a:lvl4pPr lvl="3" algn="r">
              <a:buNone/>
              <a:defRPr sz="1300">
                <a:solidFill>
                  <a:schemeClr val="tx1"/>
                </a:solidFill>
              </a:defRPr>
            </a:lvl4pPr>
            <a:lvl5pPr lvl="4" algn="r">
              <a:buNone/>
              <a:defRPr sz="1300">
                <a:solidFill>
                  <a:schemeClr val="tx1"/>
                </a:solidFill>
              </a:defRPr>
            </a:lvl5pPr>
            <a:lvl6pPr lvl="5" algn="r">
              <a:buNone/>
              <a:defRPr sz="1300">
                <a:solidFill>
                  <a:schemeClr val="tx1"/>
                </a:solidFill>
              </a:defRPr>
            </a:lvl6pPr>
            <a:lvl7pPr lvl="6" algn="r">
              <a:buNone/>
              <a:defRPr sz="1300">
                <a:solidFill>
                  <a:schemeClr val="tx1"/>
                </a:solidFill>
              </a:defRPr>
            </a:lvl7pPr>
            <a:lvl8pPr lvl="7" algn="r">
              <a:buNone/>
              <a:defRPr sz="1300">
                <a:solidFill>
                  <a:schemeClr val="tx1"/>
                </a:solidFill>
              </a:defRPr>
            </a:lvl8pPr>
            <a:lvl9pPr lvl="8" algn="r">
              <a:buNone/>
              <a:defRPr sz="1300">
                <a:solidFill>
                  <a:schemeClr val="tx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772683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1" r:id="rId1"/>
    <p:sldLayoutId id="2147483812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1" imgW="8890" imgH="8890" progId="TCLayout.ActiveDocument.1">
                  <p:embed/>
                </p:oleObj>
              </mc:Choice>
              <mc:Fallback>
                <p:oleObj name="Слайд think-cell" r:id="rId11" imgW="8890" imgH="88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/>
          <p:cNvSpPr txBox="1"/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</a:rPr>
              <a:pPr algn="r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200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10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11" imgW="8890" imgH="8890" progId="TCLayout.ActiveDocument.1">
                  <p:embed/>
                </p:oleObj>
              </mc:Choice>
              <mc:Fallback>
                <p:oleObj name="Слайд think-cell" r:id="rId11" imgW="8890" imgH="88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/>
          <p:cNvSpPr txBox="1"/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</a:rPr>
              <a:pPr algn="r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0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1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1DC6F8-F2BB-101A-0372-59E3EB3F9C81}"/>
              </a:ext>
            </a:extLst>
          </p:cNvPr>
          <p:cNvSpPr txBox="1"/>
          <p:nvPr/>
        </p:nvSpPr>
        <p:spPr>
          <a:xfrm>
            <a:off x="373626" y="153007"/>
            <a:ext cx="11415251" cy="16398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МИНИСТЕРСТВО ОБРАЗОВАНИЯ И НАУКИ ЧЕЧЕНСКОЙ РЕСПУБЛИКИ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ГОСУДАРСТВЕННОЕ БЮДЖЕТНОЕ УЧРЕЖДЕНИЕ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ДОПОЛНИТЕЛЬНОГО ПРОФЕССИОНАЛЬНОГО ОБРАЗОВАНИЯ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«ИНСТИТУТ РАЗВИТИЯ ОБРАЗОВАНИЯ ЧЕЧЕНСКОЙ РЕСПУБЛИКИ»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____________________________________________________________________________________________________________________________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E4E567-2A0B-4D4C-2B9B-F135DABB280F}"/>
              </a:ext>
            </a:extLst>
          </p:cNvPr>
          <p:cNvSpPr txBox="1"/>
          <p:nvPr/>
        </p:nvSpPr>
        <p:spPr>
          <a:xfrm>
            <a:off x="2846437" y="1970844"/>
            <a:ext cx="6096000" cy="32758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горитм работы 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чителя начальных классов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рамках реализации 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екта «</a:t>
            </a:r>
            <a:r>
              <a:rPr lang="ru-RU" sz="3200" b="1" i="1" dirty="0" err="1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чтение</a:t>
            </a: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BD02FC-78F9-331E-3E53-1B1AC1AF6B69}"/>
              </a:ext>
            </a:extLst>
          </p:cNvPr>
          <p:cNvSpPr txBox="1"/>
          <p:nvPr/>
        </p:nvSpPr>
        <p:spPr>
          <a:xfrm>
            <a:off x="5201263" y="5931961"/>
            <a:ext cx="1386348" cy="644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г. Грозный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2024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 descr="Профессор женский контур">
            <a:extLst>
              <a:ext uri="{FF2B5EF4-FFF2-40B4-BE49-F238E27FC236}">
                <a16:creationId xmlns:a16="http://schemas.microsoft.com/office/drawing/2014/main" id="{4732A31E-5ADE-7AD7-3A1B-FD8222CDD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581" y="1872521"/>
            <a:ext cx="976053" cy="976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180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347E96BD-7CCE-E7FC-56AF-98BA331F9622}"/>
              </a:ext>
            </a:extLst>
          </p:cNvPr>
          <p:cNvSpPr/>
          <p:nvPr/>
        </p:nvSpPr>
        <p:spPr>
          <a:xfrm>
            <a:off x="245806" y="117987"/>
            <a:ext cx="10540181" cy="51127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оценивания работы по литературному чтению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E841E43B-18B2-D2DA-2922-C79294070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8371423"/>
              </p:ext>
            </p:extLst>
          </p:nvPr>
        </p:nvGraphicFramePr>
        <p:xfrm>
          <a:off x="245807" y="737420"/>
          <a:ext cx="11739716" cy="6002594"/>
        </p:xfrm>
        <a:graphic>
          <a:graphicData uri="http://schemas.openxmlformats.org/drawingml/2006/table">
            <a:tbl>
              <a:tblPr firstRow="1" firstCol="1" bandRow="1"/>
              <a:tblGrid>
                <a:gridCol w="649800">
                  <a:extLst>
                    <a:ext uri="{9D8B030D-6E8A-4147-A177-3AD203B41FA5}">
                      <a16:colId xmlns:a16="http://schemas.microsoft.com/office/drawing/2014/main" val="3937649477"/>
                    </a:ext>
                  </a:extLst>
                </a:gridCol>
                <a:gridCol w="1178999">
                  <a:extLst>
                    <a:ext uri="{9D8B030D-6E8A-4147-A177-3AD203B41FA5}">
                      <a16:colId xmlns:a16="http://schemas.microsoft.com/office/drawing/2014/main" val="898695183"/>
                    </a:ext>
                  </a:extLst>
                </a:gridCol>
                <a:gridCol w="3165741">
                  <a:extLst>
                    <a:ext uri="{9D8B030D-6E8A-4147-A177-3AD203B41FA5}">
                      <a16:colId xmlns:a16="http://schemas.microsoft.com/office/drawing/2014/main" val="1828869180"/>
                    </a:ext>
                  </a:extLst>
                </a:gridCol>
                <a:gridCol w="6745176">
                  <a:extLst>
                    <a:ext uri="{9D8B030D-6E8A-4147-A177-3AD203B41FA5}">
                      <a16:colId xmlns:a16="http://schemas.microsoft.com/office/drawing/2014/main" val="134206688"/>
                    </a:ext>
                  </a:extLst>
                </a:gridCol>
              </a:tblGrid>
              <a:tr h="333700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en-US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ряемое умение</a:t>
                      </a:r>
                      <a:endParaRPr lang="en-US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 оценивания</a:t>
                      </a:r>
                      <a:endParaRPr lang="en-US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21607"/>
                  </a:ext>
                </a:extLst>
              </a:tr>
              <a:tr h="5668894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-4</a:t>
                      </a:r>
                      <a:endParaRPr lang="en-US" sz="14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ставлять письменные высказывания на основе прочитанного текста на заданную тему по содержанию произведения для 3-х классов не менее 3-4 предложений, для 4-х классов- не менее 4-5 предложений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Соответствие теме, ее раскрытие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б.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ысказывание соответствует теме, содержит правильные выводы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б.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ысказывание частично соответствует теме/частично раскрывает 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му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б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 высказывание не соответствует теме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Смысловая цельность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б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 высказывание характеризуется смысловой цельностью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б.-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не обладает смысловой цельностью, не является 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огичным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Выразительность и точность речи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б.-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отвечает требованиям выразительности речи и точности выбора языковых средств, речевые ошибки 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уют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б.-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отвечает требованиям выразительности речи, но при этом допущены единичные речевые ошибки или небольшая неточность при выборе языковых средств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б.-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отличается бедностью словаря, содержит речевые ошибки.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симальный балл – 5 баллов 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441" marR="314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149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7393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30D6E60C-79B7-6FAE-5B96-2BCB4F84B358}"/>
              </a:ext>
            </a:extLst>
          </p:cNvPr>
          <p:cNvSpPr/>
          <p:nvPr/>
        </p:nvSpPr>
        <p:spPr>
          <a:xfrm>
            <a:off x="245806" y="117987"/>
            <a:ext cx="10540181" cy="51127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евод баллов в отметки по пятибалльной шкале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14AE378-9AA5-BD6E-533F-661F656B38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304206"/>
              </p:ext>
            </p:extLst>
          </p:nvPr>
        </p:nvGraphicFramePr>
        <p:xfrm>
          <a:off x="353961" y="1167770"/>
          <a:ext cx="7246375" cy="1956755"/>
        </p:xfrm>
        <a:graphic>
          <a:graphicData uri="http://schemas.openxmlformats.org/drawingml/2006/table">
            <a:tbl>
              <a:tblPr firstRow="1" firstCol="1" bandRow="1"/>
              <a:tblGrid>
                <a:gridCol w="3726426">
                  <a:extLst>
                    <a:ext uri="{9D8B030D-6E8A-4147-A177-3AD203B41FA5}">
                      <a16:colId xmlns:a16="http://schemas.microsoft.com/office/drawing/2014/main" val="2598256493"/>
                    </a:ext>
                  </a:extLst>
                </a:gridCol>
                <a:gridCol w="3519949">
                  <a:extLst>
                    <a:ext uri="{9D8B030D-6E8A-4147-A177-3AD203B41FA5}">
                      <a16:colId xmlns:a16="http://schemas.microsoft.com/office/drawing/2014/main" val="2428279290"/>
                    </a:ext>
                  </a:extLst>
                </a:gridCol>
              </a:tblGrid>
              <a:tr h="336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личество баллов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метка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909563"/>
                  </a:ext>
                </a:extLst>
              </a:tr>
              <a:tr h="336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б.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1507936"/>
                  </a:ext>
                </a:extLst>
              </a:tr>
              <a:tr h="336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б.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733161"/>
                  </a:ext>
                </a:extLst>
              </a:tr>
              <a:tr h="336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б.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397251"/>
                  </a:ext>
                </a:extLst>
              </a:tr>
              <a:tr h="336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-2 б.</a:t>
                      </a:r>
                      <a:endParaRPr lang="en-US" sz="24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4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2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131155"/>
                  </a:ext>
                </a:extLst>
              </a:tr>
            </a:tbl>
          </a:graphicData>
        </a:graphic>
      </p:graphicFrame>
      <p:sp>
        <p:nvSpPr>
          <p:cNvPr id="4" name="Свиток: вертикальный 3">
            <a:extLst>
              <a:ext uri="{FF2B5EF4-FFF2-40B4-BE49-F238E27FC236}">
                <a16:creationId xmlns:a16="http://schemas.microsoft.com/office/drawing/2014/main" id="{15C71CD4-656C-8C60-7BAE-9E81E5FAD9DA}"/>
              </a:ext>
            </a:extLst>
          </p:cNvPr>
          <p:cNvSpPr/>
          <p:nvPr/>
        </p:nvSpPr>
        <p:spPr>
          <a:xfrm>
            <a:off x="7895304" y="845573"/>
            <a:ext cx="4119716" cy="3647769"/>
          </a:xfrm>
          <a:prstGeom prst="vertic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ри оценивании работы следует учитывать объем высказывания, если он не соответствует норме, то количество полученных баллов уменьшается на один</a:t>
            </a:r>
            <a:r>
              <a:rPr lang="ru-RU" sz="18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5" name="Свиток: горизонтальный 4">
            <a:extLst>
              <a:ext uri="{FF2B5EF4-FFF2-40B4-BE49-F238E27FC236}">
                <a16:creationId xmlns:a16="http://schemas.microsoft.com/office/drawing/2014/main" id="{F1B84855-118C-403C-ECDB-B25DDAD81DAC}"/>
              </a:ext>
            </a:extLst>
          </p:cNvPr>
          <p:cNvSpPr/>
          <p:nvPr/>
        </p:nvSpPr>
        <p:spPr>
          <a:xfrm>
            <a:off x="299883" y="3367359"/>
            <a:ext cx="7354530" cy="2910348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28600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конце четверти / триместра отметки, выставленные в тетради,  суммируются, выводится средний балл и выставляется в журнал (в колонке) </a:t>
            </a:r>
            <a:r>
              <a:rPr lang="ru-RU" sz="240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д четвертной / триместровой </a:t>
            </a: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меткой.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 descr="Восклицательный знак со сплошной заливкой">
            <a:extLst>
              <a:ext uri="{FF2B5EF4-FFF2-40B4-BE49-F238E27FC236}">
                <a16:creationId xmlns:a16="http://schemas.microsoft.com/office/drawing/2014/main" id="{48FA4C62-1948-A4D9-51F4-C355BFC715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6812" y="4385282"/>
            <a:ext cx="578074" cy="61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019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трелка: пятиугольник 2">
            <a:extLst>
              <a:ext uri="{FF2B5EF4-FFF2-40B4-BE49-F238E27FC236}">
                <a16:creationId xmlns:a16="http://schemas.microsoft.com/office/drawing/2014/main" id="{3126DFA6-2714-59F8-AE27-3527E0342FA5}"/>
              </a:ext>
            </a:extLst>
          </p:cNvPr>
          <p:cNvSpPr/>
          <p:nvPr/>
        </p:nvSpPr>
        <p:spPr>
          <a:xfrm>
            <a:off x="314632" y="265471"/>
            <a:ext cx="11493910" cy="1307690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Цель: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вершенствование приемов формирования у обучающихся 3-х и 4-х классов умений (учебных действий) по русскому языку и литературному чтению: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:a16="http://schemas.microsoft.com/office/drawing/2014/main" id="{13CA7FC3-6821-B679-76E0-1E3F3E648606}"/>
              </a:ext>
            </a:extLst>
          </p:cNvPr>
          <p:cNvSpPr/>
          <p:nvPr/>
        </p:nvSpPr>
        <p:spPr>
          <a:xfrm rot="10800000" flipV="1">
            <a:off x="280219" y="1671483"/>
            <a:ext cx="11562736" cy="2340078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авильно списывать слова, предложения, тексты объёмом не менее 50 слов и не более 70 слов (для обучающихся 3-х классов);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авильно списывать слова, предложения, тексты объёмом не менее 70 слов и не более 85 слов (для обучающихся 4-х классов);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Свиток: горизонтальный 4">
            <a:extLst>
              <a:ext uri="{FF2B5EF4-FFF2-40B4-BE49-F238E27FC236}">
                <a16:creationId xmlns:a16="http://schemas.microsoft.com/office/drawing/2014/main" id="{8899C8CE-9A16-7469-CE9E-3DC3D0C67B07}"/>
              </a:ext>
            </a:extLst>
          </p:cNvPr>
          <p:cNvSpPr/>
          <p:nvPr/>
        </p:nvSpPr>
        <p:spPr>
          <a:xfrm rot="10800000" flipV="1">
            <a:off x="314632" y="3608438"/>
            <a:ext cx="11562736" cy="3490452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составлять письменные высказывания на основе прочитанного текста на заданную тему по содержанию произведения не менее 3-4 предложений (для обучающихся 3-х классов);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составлять письменные высказывания на основе прочитанного текста на заданную тему по содержанию произведения не менее 4-5 предложений (для обучающихся 4-х классов).  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653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58E2817E-B42B-661C-5200-5E88D2BE9413}"/>
              </a:ext>
            </a:extLst>
          </p:cNvPr>
          <p:cNvSpPr/>
          <p:nvPr/>
        </p:nvSpPr>
        <p:spPr>
          <a:xfrm>
            <a:off x="245806" y="117987"/>
            <a:ext cx="11493910" cy="51127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комендации по содержанию работы учителя начальных классов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472687-B6F3-7685-594D-7F51145C932A}"/>
              </a:ext>
            </a:extLst>
          </p:cNvPr>
          <p:cNvSpPr txBox="1"/>
          <p:nvPr/>
        </p:nvSpPr>
        <p:spPr>
          <a:xfrm>
            <a:off x="188900" y="948415"/>
            <a:ext cx="5083277" cy="20487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выполнения дополнительных работ по русскому языку и литературному чтению ученики должны иметь следующее количество тетрадей:</a:t>
            </a:r>
            <a:endParaRPr lang="en-US" sz="2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74B71457-F73B-88F9-2482-87AC3A7A31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631182"/>
              </p:ext>
            </p:extLst>
          </p:nvPr>
        </p:nvGraphicFramePr>
        <p:xfrm>
          <a:off x="6612898" y="1177054"/>
          <a:ext cx="5274302" cy="1731825"/>
        </p:xfrm>
        <a:graphic>
          <a:graphicData uri="http://schemas.openxmlformats.org/drawingml/2006/table">
            <a:tbl>
              <a:tblPr firstRow="1" firstCol="1" bandRow="1"/>
              <a:tblGrid>
                <a:gridCol w="869450">
                  <a:extLst>
                    <a:ext uri="{9D8B030D-6E8A-4147-A177-3AD203B41FA5}">
                      <a16:colId xmlns:a16="http://schemas.microsoft.com/office/drawing/2014/main" val="4257502035"/>
                    </a:ext>
                  </a:extLst>
                </a:gridCol>
                <a:gridCol w="2399071">
                  <a:extLst>
                    <a:ext uri="{9D8B030D-6E8A-4147-A177-3AD203B41FA5}">
                      <a16:colId xmlns:a16="http://schemas.microsoft.com/office/drawing/2014/main" val="445993287"/>
                    </a:ext>
                  </a:extLst>
                </a:gridCol>
                <a:gridCol w="2005781">
                  <a:extLst>
                    <a:ext uri="{9D8B030D-6E8A-4147-A177-3AD203B41FA5}">
                      <a16:colId xmlns:a16="http://schemas.microsoft.com/office/drawing/2014/main" val="2392870800"/>
                    </a:ext>
                  </a:extLst>
                </a:gridCol>
              </a:tblGrid>
              <a:tr h="547841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endParaRPr lang="en-US" sz="2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20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мет</a:t>
                      </a:r>
                      <a:endParaRPr lang="en-US" sz="2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-4 классы</a:t>
                      </a:r>
                      <a:endParaRPr lang="en-US" sz="20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1331743"/>
                  </a:ext>
                </a:extLst>
              </a:tr>
              <a:tr h="547841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2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20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сский язык</a:t>
                      </a:r>
                      <a:endParaRPr lang="en-US" sz="20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тетрадь</a:t>
                      </a:r>
                      <a:endParaRPr lang="en-US" sz="2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88595"/>
                  </a:ext>
                </a:extLst>
              </a:tr>
              <a:tr h="547841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2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20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итературное чтение</a:t>
                      </a:r>
                      <a:endParaRPr lang="en-US" sz="20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</a:pP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1 тетрадь</a:t>
                      </a:r>
                      <a:endParaRPr lang="en-US" sz="2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294437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9B022E8-24BD-B6EF-3219-E4C9C8FC5423}"/>
              </a:ext>
            </a:extLst>
          </p:cNvPr>
          <p:cNvSpPr txBox="1"/>
          <p:nvPr/>
        </p:nvSpPr>
        <p:spPr>
          <a:xfrm>
            <a:off x="188900" y="3224773"/>
            <a:ext cx="5083277" cy="293452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ающиеся пользуются стандартными тетрадями в широкую линию, состоящими из 12–18 листов.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адь по предмету должна иметь аккуратный внешний вид. На ее обложке (первой странице) делается следующая запись: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Стрелка вправо контур">
            <a:extLst>
              <a:ext uri="{FF2B5EF4-FFF2-40B4-BE49-F238E27FC236}">
                <a16:creationId xmlns:a16="http://schemas.microsoft.com/office/drawing/2014/main" id="{AC3F9E56-8A8C-1050-CB80-CC01896FFC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55933" y="1545884"/>
            <a:ext cx="962854" cy="637008"/>
          </a:xfrm>
          <a:prstGeom prst="rect">
            <a:avLst/>
          </a:prstGeom>
        </p:spPr>
      </p:pic>
      <p:pic>
        <p:nvPicPr>
          <p:cNvPr id="14" name="Рисунок 13" descr="Стрелка вправо контур">
            <a:extLst>
              <a:ext uri="{FF2B5EF4-FFF2-40B4-BE49-F238E27FC236}">
                <a16:creationId xmlns:a16="http://schemas.microsoft.com/office/drawing/2014/main" id="{9637AC07-9CE2-5F1B-3D71-0742D8F1D3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55933" y="4373529"/>
            <a:ext cx="894028" cy="63700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C74316A-8AC5-8F99-3793-4F9910A74E5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2839" t="6093" r="14018" b="6608"/>
          <a:stretch/>
        </p:blipFill>
        <p:spPr>
          <a:xfrm>
            <a:off x="6612898" y="3118991"/>
            <a:ext cx="2949677" cy="31460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30B3CE-EC0F-516D-9726-EABDBFF36A4F}"/>
              </a:ext>
            </a:extLst>
          </p:cNvPr>
          <p:cNvSpPr txBox="1"/>
          <p:nvPr/>
        </p:nvSpPr>
        <p:spPr>
          <a:xfrm>
            <a:off x="7716236" y="3299183"/>
            <a:ext cx="4195545" cy="27856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7200" algn="just">
              <a:lnSpc>
                <a:spcPct val="107000"/>
              </a:lnSpc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Тетрадь для 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дополнительных работ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по __________________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ученика(</a:t>
            </a:r>
            <a:r>
              <a:rPr lang="ru-RU" sz="2000" dirty="0" err="1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ы</a:t>
            </a: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___________класса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МБОУ «…………….»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Фамилия____ Имя_____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175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08629BDE-CA99-BDFD-F14D-7009DB39071A}"/>
              </a:ext>
            </a:extLst>
          </p:cNvPr>
          <p:cNvSpPr/>
          <p:nvPr/>
        </p:nvSpPr>
        <p:spPr>
          <a:xfrm>
            <a:off x="211393" y="72269"/>
            <a:ext cx="11493910" cy="825910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я дополнительных работ по русскому языку осуществляется один раз в неделю.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Свиток: горизонтальный 2">
            <a:extLst>
              <a:ext uri="{FF2B5EF4-FFF2-40B4-BE49-F238E27FC236}">
                <a16:creationId xmlns:a16="http://schemas.microsoft.com/office/drawing/2014/main" id="{7B6E5431-C676-B877-E738-04431F9A0844}"/>
              </a:ext>
            </a:extLst>
          </p:cNvPr>
          <p:cNvSpPr/>
          <p:nvPr/>
        </p:nvSpPr>
        <p:spPr>
          <a:xfrm>
            <a:off x="216309" y="739388"/>
            <a:ext cx="11493910" cy="2139990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 понедельник обучающимся 3-х и 4-х классов в качестве домашней письменной работы учитель выдает на карточках единый текст для списывания  (приложение №1) </a:t>
            </a:r>
            <a:r>
              <a:rPr lang="ru-RU" sz="24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бъемом не менее 50 слов и не более 70 слов для 3-х классов, объемом не менее 70 слов и не более 85 слов для 4-х классов.</a:t>
            </a:r>
            <a:endParaRPr lang="en-US" sz="2400" b="1" i="1" dirty="0">
              <a:solidFill>
                <a:srgbClr val="002060"/>
              </a:solidFill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:a16="http://schemas.microsoft.com/office/drawing/2014/main" id="{6BBB65CF-AF32-DC92-C706-D4BF08898BBF}"/>
              </a:ext>
            </a:extLst>
          </p:cNvPr>
          <p:cNvSpPr/>
          <p:nvPr/>
        </p:nvSpPr>
        <p:spPr>
          <a:xfrm>
            <a:off x="206477" y="2667985"/>
            <a:ext cx="11464412" cy="2261419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е рекомендуется в этот день выдавать обучающимся более одной домашней письменной работы по русскому языку, при необходимости можно выдать дополнительное домашнее задание в устной форме по изученной теме: выучить правило и т.д.. </a:t>
            </a:r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8" name="Рисунок 7" descr="Восклицательный знак со сплошной заливкой">
            <a:extLst>
              <a:ext uri="{FF2B5EF4-FFF2-40B4-BE49-F238E27FC236}">
                <a16:creationId xmlns:a16="http://schemas.microsoft.com/office/drawing/2014/main" id="{4A6BD85A-BE30-8D8B-587A-4FE73B0C0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7819" y="3347885"/>
            <a:ext cx="914400" cy="914400"/>
          </a:xfrm>
          <a:prstGeom prst="rect">
            <a:avLst/>
          </a:prstGeom>
        </p:spPr>
      </p:pic>
      <p:sp>
        <p:nvSpPr>
          <p:cNvPr id="9" name="Свиток: горизонтальный 8">
            <a:extLst>
              <a:ext uri="{FF2B5EF4-FFF2-40B4-BE49-F238E27FC236}">
                <a16:creationId xmlns:a16="http://schemas.microsoft.com/office/drawing/2014/main" id="{0AEC0A32-8360-04E0-B437-23CE90660A1C}"/>
              </a:ext>
            </a:extLst>
          </p:cNvPr>
          <p:cNvSpPr/>
          <p:nvPr/>
        </p:nvSpPr>
        <p:spPr>
          <a:xfrm>
            <a:off x="221225" y="4718010"/>
            <a:ext cx="11434915" cy="2139990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 следующему учебному занятию работа детьми должна быть выполнена и сдана на проверку. Учитель проверяет работы обучающихся, выставляет отметки в тетради в соответствии с критериями оценивания и выдает тетради обучающимся в следующий понедельник для выполнения новой работы. 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76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виток: горизонтальный 1">
            <a:extLst>
              <a:ext uri="{FF2B5EF4-FFF2-40B4-BE49-F238E27FC236}">
                <a16:creationId xmlns:a16="http://schemas.microsoft.com/office/drawing/2014/main" id="{3233FD7A-8E69-D8DF-FAE6-137C0CC9BF45}"/>
              </a:ext>
            </a:extLst>
          </p:cNvPr>
          <p:cNvSpPr/>
          <p:nvPr/>
        </p:nvSpPr>
        <p:spPr>
          <a:xfrm>
            <a:off x="258096" y="486697"/>
            <a:ext cx="11675807" cy="6240040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457200" algn="just">
              <a:lnSpc>
                <a:spcPct val="107000"/>
              </a:lnSpc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Прочитай предложение и повтори его по памяти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Прочитай предложение еще раз так, как оно написано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Диктуй себе каждое слово по ходу записи предложения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.Проверь написанное. Прочитай каждое слово. Открой образец и сравни написанное с образцом. 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endParaRPr lang="ru-RU" sz="2800" b="1" i="1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8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.</a:t>
            </a:r>
            <a:r>
              <a:rPr lang="en-US" sz="28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ru-RU" sz="28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28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писывание с готового образца - для списывания предлагается текст без пропуска букв и дополнительных заданий; цель списать правильно, без ошибок и искажений.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: пятиугольник 2">
            <a:extLst>
              <a:ext uri="{FF2B5EF4-FFF2-40B4-BE49-F238E27FC236}">
                <a16:creationId xmlns:a16="http://schemas.microsoft.com/office/drawing/2014/main" id="{2F4E42AE-3BEC-3AE4-A230-C11E5AB475CF}"/>
              </a:ext>
            </a:extLst>
          </p:cNvPr>
          <p:cNvSpPr/>
          <p:nvPr/>
        </p:nvSpPr>
        <p:spPr>
          <a:xfrm>
            <a:off x="309716" y="131263"/>
            <a:ext cx="8411497" cy="825910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32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кращенный алгоритм списывания</a:t>
            </a:r>
          </a:p>
        </p:txBody>
      </p:sp>
    </p:spTree>
    <p:extLst>
      <p:ext uri="{BB962C8B-B14F-4D97-AF65-F5344CB8AC3E}">
        <p14:creationId xmlns:p14="http://schemas.microsoft.com/office/powerpoint/2010/main" val="4000357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E642B-FE2A-11F6-4A1C-940B34BAD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0E51936C-EAB5-E73F-3837-08869DB33B2B}"/>
              </a:ext>
            </a:extLst>
          </p:cNvPr>
          <p:cNvSpPr/>
          <p:nvPr/>
        </p:nvSpPr>
        <p:spPr>
          <a:xfrm>
            <a:off x="211393" y="72269"/>
            <a:ext cx="11493910" cy="825910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я дополнительных работ по литературному чтению осуществляется один раз в неделю.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Свиток: горизонтальный 2">
            <a:extLst>
              <a:ext uri="{FF2B5EF4-FFF2-40B4-BE49-F238E27FC236}">
                <a16:creationId xmlns:a16="http://schemas.microsoft.com/office/drawing/2014/main" id="{0F3DBA2D-EC3F-83BA-C5D2-89D5104B1E60}"/>
              </a:ext>
            </a:extLst>
          </p:cNvPr>
          <p:cNvSpPr/>
          <p:nvPr/>
        </p:nvSpPr>
        <p:spPr>
          <a:xfrm>
            <a:off x="117986" y="812055"/>
            <a:ext cx="11897033" cy="2530821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а третьем уроке по литературному чтению в рамках текущей недели обучающимся 3-х и 4-х классов в качестве домашней письменной работы учитель выдает задание составить письменное высказывание на основе прочитанного текста на заданную тему в рамках текущего планирования. Письменное высказывание должно содержать для 3-х классов не менее 3-4 предложений, для 4-х классов- не менее 4-5 предложений. Объем и содержание текста для письменного высказывания учитель определяет самостоятельно. </a:t>
            </a:r>
            <a:endParaRPr lang="en-US" sz="2000" b="1" i="1" dirty="0">
              <a:solidFill>
                <a:srgbClr val="002060"/>
              </a:solidFill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:a16="http://schemas.microsoft.com/office/drawing/2014/main" id="{1E9A762F-0E81-A44E-EF18-53A7A642B97D}"/>
              </a:ext>
            </a:extLst>
          </p:cNvPr>
          <p:cNvSpPr/>
          <p:nvPr/>
        </p:nvSpPr>
        <p:spPr>
          <a:xfrm>
            <a:off x="117989" y="3256752"/>
            <a:ext cx="11867535" cy="1550917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е рекомендуется в этот день выдавать обучающимся более одной домашней письменной работы по литературному чтению, при необходимости можно выдать дополнительное домашнее задание в устной форме по изученной теме: выразительное чтение произведения, подготовиться к пересказу и т.д.. </a:t>
            </a:r>
            <a:endParaRPr lang="en-US" sz="2000" dirty="0">
              <a:solidFill>
                <a:srgbClr val="002060"/>
              </a:solidFill>
            </a:endParaRPr>
          </a:p>
        </p:txBody>
      </p:sp>
      <p:pic>
        <p:nvPicPr>
          <p:cNvPr id="8" name="Рисунок 7" descr="Восклицательный знак со сплошной заливкой">
            <a:extLst>
              <a:ext uri="{FF2B5EF4-FFF2-40B4-BE49-F238E27FC236}">
                <a16:creationId xmlns:a16="http://schemas.microsoft.com/office/drawing/2014/main" id="{D826F277-609C-FDF1-67A3-8B513461F5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65122" y="3708883"/>
            <a:ext cx="743196" cy="743196"/>
          </a:xfrm>
          <a:prstGeom prst="rect">
            <a:avLst/>
          </a:prstGeom>
        </p:spPr>
      </p:pic>
      <p:sp>
        <p:nvSpPr>
          <p:cNvPr id="9" name="Свиток: горизонтальный 8">
            <a:extLst>
              <a:ext uri="{FF2B5EF4-FFF2-40B4-BE49-F238E27FC236}">
                <a16:creationId xmlns:a16="http://schemas.microsoft.com/office/drawing/2014/main" id="{F508CFE8-B404-436A-F19E-3AEBE1F93C24}"/>
              </a:ext>
            </a:extLst>
          </p:cNvPr>
          <p:cNvSpPr/>
          <p:nvPr/>
        </p:nvSpPr>
        <p:spPr>
          <a:xfrm>
            <a:off x="132735" y="4750609"/>
            <a:ext cx="11838041" cy="1901679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 следующему учебному занятию по литературному чтению работа детьми должна быть выполнена и сдана на проверку. Учитель проверяет работы обучающихся, выставляет отметки в тетради в соответствии с критериями оценивания и выдает тетради обучающимся на третьем уроке по литературному чтению в рамках текущей недели для выполнения новой работы.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031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D6C5131-9383-4818-BC1E-03A9312C35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149" t="12982" r="35313" b="8937"/>
          <a:stretch/>
        </p:blipFill>
        <p:spPr>
          <a:xfrm>
            <a:off x="9586258" y="1060914"/>
            <a:ext cx="1882006" cy="2591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1ED1E27-99FD-4C24-9E0D-8352C7FB3E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578" t="12295" r="34546" b="10390"/>
          <a:stretch/>
        </p:blipFill>
        <p:spPr>
          <a:xfrm>
            <a:off x="7567332" y="1001187"/>
            <a:ext cx="1882006" cy="26508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виток: горизонтальный 1">
            <a:extLst>
              <a:ext uri="{FF2B5EF4-FFF2-40B4-BE49-F238E27FC236}">
                <a16:creationId xmlns:a16="http://schemas.microsoft.com/office/drawing/2014/main" id="{A39C6E6E-1D26-6044-01F2-734E7CF1CD05}"/>
              </a:ext>
            </a:extLst>
          </p:cNvPr>
          <p:cNvSpPr/>
          <p:nvPr/>
        </p:nvSpPr>
        <p:spPr>
          <a:xfrm>
            <a:off x="170989" y="2450481"/>
            <a:ext cx="7154440" cy="1128059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автор относится к Рукодельнице и Ленивице? Почему ты так думаешь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:a16="http://schemas.microsoft.com/office/drawing/2014/main" id="{67328A94-4BA3-27B4-E3E9-FC853F301E3E}"/>
              </a:ext>
            </a:extLst>
          </p:cNvPr>
          <p:cNvSpPr/>
          <p:nvPr/>
        </p:nvSpPr>
        <p:spPr>
          <a:xfrm>
            <a:off x="145687" y="1134680"/>
            <a:ext cx="7179742" cy="1225396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ови героев сказки, из-за которых происходили все несчастья. Почему они так поступали? 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виток: горизонтальный 5">
            <a:extLst>
              <a:ext uri="{FF2B5EF4-FFF2-40B4-BE49-F238E27FC236}">
                <a16:creationId xmlns:a16="http://schemas.microsoft.com/office/drawing/2014/main" id="{1260864D-A166-885F-8236-2F69865D9752}"/>
              </a:ext>
            </a:extLst>
          </p:cNvPr>
          <p:cNvSpPr/>
          <p:nvPr/>
        </p:nvSpPr>
        <p:spPr>
          <a:xfrm>
            <a:off x="158338" y="3764335"/>
            <a:ext cx="11389608" cy="1033272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т ли льстивые слова намерениям Лисицы? Как Лисице удалось достичь своей цели? 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виток: горизонтальный 7">
            <a:extLst>
              <a:ext uri="{FF2B5EF4-FFF2-40B4-BE49-F238E27FC236}">
                <a16:creationId xmlns:a16="http://schemas.microsoft.com/office/drawing/2014/main" id="{1FEBA161-DA47-6ACE-A07D-EC1D966E004F}"/>
              </a:ext>
            </a:extLst>
          </p:cNvPr>
          <p:cNvSpPr/>
          <p:nvPr/>
        </p:nvSpPr>
        <p:spPr>
          <a:xfrm>
            <a:off x="157315" y="4797607"/>
            <a:ext cx="11389608" cy="729243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чем комичность ситуации? Что тебя в басне забавляет, смущает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виток: горизонтальный 9">
            <a:extLst>
              <a:ext uri="{FF2B5EF4-FFF2-40B4-BE49-F238E27FC236}">
                <a16:creationId xmlns:a16="http://schemas.microsoft.com/office/drawing/2014/main" id="{D8A4C155-08E3-1D84-4BCB-E1B40E97CA12}"/>
              </a:ext>
            </a:extLst>
          </p:cNvPr>
          <p:cNvSpPr/>
          <p:nvPr/>
        </p:nvSpPr>
        <p:spPr>
          <a:xfrm>
            <a:off x="175905" y="5547431"/>
            <a:ext cx="11389609" cy="1033272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мотри репродукцию картины И. И. Шишкина. Совпадает ли она по настроению со стихотворением «На севере диком…? Обоснуй свое мнение.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Стрелка: пятиугольник 11">
            <a:extLst>
              <a:ext uri="{FF2B5EF4-FFF2-40B4-BE49-F238E27FC236}">
                <a16:creationId xmlns:a16="http://schemas.microsoft.com/office/drawing/2014/main" id="{F58A65D1-E706-F828-8B1C-B945B25041D8}"/>
              </a:ext>
            </a:extLst>
          </p:cNvPr>
          <p:cNvSpPr/>
          <p:nvPr/>
        </p:nvSpPr>
        <p:spPr>
          <a:xfrm>
            <a:off x="211393" y="72269"/>
            <a:ext cx="11493910" cy="825910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 и содержание текста для письменного высказывания учитель определяет самостоятельно.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4524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516B779F-D8E4-8A2D-FD91-63E9F880B4C4}"/>
              </a:ext>
            </a:extLst>
          </p:cNvPr>
          <p:cNvSpPr/>
          <p:nvPr/>
        </p:nvSpPr>
        <p:spPr>
          <a:xfrm>
            <a:off x="245806" y="117987"/>
            <a:ext cx="9153833" cy="51127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оценивания работы по русскому языку 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4F87A3E-7BD1-DFD4-831A-CFC847DD8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386021"/>
              </p:ext>
            </p:extLst>
          </p:nvPr>
        </p:nvGraphicFramePr>
        <p:xfrm>
          <a:off x="245806" y="825262"/>
          <a:ext cx="11720052" cy="5825613"/>
        </p:xfrm>
        <a:graphic>
          <a:graphicData uri="http://schemas.openxmlformats.org/drawingml/2006/table">
            <a:tbl>
              <a:tblPr firstRow="1" firstCol="1" bandRow="1"/>
              <a:tblGrid>
                <a:gridCol w="648711">
                  <a:extLst>
                    <a:ext uri="{9D8B030D-6E8A-4147-A177-3AD203B41FA5}">
                      <a16:colId xmlns:a16="http://schemas.microsoft.com/office/drawing/2014/main" val="2521669341"/>
                    </a:ext>
                  </a:extLst>
                </a:gridCol>
                <a:gridCol w="1227462">
                  <a:extLst>
                    <a:ext uri="{9D8B030D-6E8A-4147-A177-3AD203B41FA5}">
                      <a16:colId xmlns:a16="http://schemas.microsoft.com/office/drawing/2014/main" val="4253937928"/>
                    </a:ext>
                  </a:extLst>
                </a:gridCol>
                <a:gridCol w="3109999">
                  <a:extLst>
                    <a:ext uri="{9D8B030D-6E8A-4147-A177-3AD203B41FA5}">
                      <a16:colId xmlns:a16="http://schemas.microsoft.com/office/drawing/2014/main" val="3986693187"/>
                    </a:ext>
                  </a:extLst>
                </a:gridCol>
                <a:gridCol w="6733880">
                  <a:extLst>
                    <a:ext uri="{9D8B030D-6E8A-4147-A177-3AD203B41FA5}">
                      <a16:colId xmlns:a16="http://schemas.microsoft.com/office/drawing/2014/main" val="3103371927"/>
                    </a:ext>
                  </a:extLst>
                </a:gridCol>
              </a:tblGrid>
              <a:tr h="686419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ряемое умение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 оценивания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074183"/>
                  </a:ext>
                </a:extLst>
              </a:tr>
              <a:tr h="5139194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авильно списывать слова, предложения, тексты объёмом не менее 50 слов и не более 70 слов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а оценивается одной отметкой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5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безошибочную работу, а также при наличии в ней 1 негрубой орфографической или 1 негрубой пунктуационной ошибки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4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при наличии 2 орфографических и 2 пунктуационных ошибок, или 1 орфографической и 3 пунктуационных ошибок, или 4 пунктуационных при отсутствии орфографических ошибок. Оценка «4» может выставляться при 3 орфографических ошибках, если среди них есть однотипные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3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ы 3-5 орфографических и 4 пунктуационных ошибок. Оценка «3» может быть поставлена также при наличии 6 орфографических и 6 пунктуационных ошибках, если среди тех и других имеются однотипные и негрубые ошибки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2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о до 7 и более орфографических и 7 пунктуационных ошибок, или 6 орфографических и 8 пунктуационных ошибок, 5 орфографических и 9 пунктуационных ошибок, 8 орфографических и 6 пунктуационных ошибок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81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3922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2916B-EF25-A90B-B569-3DBC4BF5A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:a16="http://schemas.microsoft.com/office/drawing/2014/main" id="{596F5306-3F72-AFE7-BDC5-B3DC430C93D6}"/>
              </a:ext>
            </a:extLst>
          </p:cNvPr>
          <p:cNvSpPr/>
          <p:nvPr/>
        </p:nvSpPr>
        <p:spPr>
          <a:xfrm>
            <a:off x="245806" y="117987"/>
            <a:ext cx="9153833" cy="51127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оценивания работы по русскому языку 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44442241-24ED-CB1C-B504-84371A78B5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237621"/>
              </p:ext>
            </p:extLst>
          </p:nvPr>
        </p:nvGraphicFramePr>
        <p:xfrm>
          <a:off x="245806" y="825262"/>
          <a:ext cx="11720052" cy="5825613"/>
        </p:xfrm>
        <a:graphic>
          <a:graphicData uri="http://schemas.openxmlformats.org/drawingml/2006/table">
            <a:tbl>
              <a:tblPr firstRow="1" firstCol="1" bandRow="1"/>
              <a:tblGrid>
                <a:gridCol w="648711">
                  <a:extLst>
                    <a:ext uri="{9D8B030D-6E8A-4147-A177-3AD203B41FA5}">
                      <a16:colId xmlns:a16="http://schemas.microsoft.com/office/drawing/2014/main" val="2521669341"/>
                    </a:ext>
                  </a:extLst>
                </a:gridCol>
                <a:gridCol w="1227462">
                  <a:extLst>
                    <a:ext uri="{9D8B030D-6E8A-4147-A177-3AD203B41FA5}">
                      <a16:colId xmlns:a16="http://schemas.microsoft.com/office/drawing/2014/main" val="4253937928"/>
                    </a:ext>
                  </a:extLst>
                </a:gridCol>
                <a:gridCol w="3109999">
                  <a:extLst>
                    <a:ext uri="{9D8B030D-6E8A-4147-A177-3AD203B41FA5}">
                      <a16:colId xmlns:a16="http://schemas.microsoft.com/office/drawing/2014/main" val="3986693187"/>
                    </a:ext>
                  </a:extLst>
                </a:gridCol>
                <a:gridCol w="6733880">
                  <a:extLst>
                    <a:ext uri="{9D8B030D-6E8A-4147-A177-3AD203B41FA5}">
                      <a16:colId xmlns:a16="http://schemas.microsoft.com/office/drawing/2014/main" val="3103371927"/>
                    </a:ext>
                  </a:extLst>
                </a:gridCol>
              </a:tblGrid>
              <a:tr h="686419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ряемое умение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 оценивания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112" marR="3111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074183"/>
                  </a:ext>
                </a:extLst>
              </a:tr>
              <a:tr h="5139194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авильно списывать слова, предложения, тексты объёмом не менее 70 слов и не более 85 слов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а оценивается одной отметкой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5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безошибочную работу, а также при наличии в ней 1 негрубой орфографической или 1 негрубой пунктуационной ошибки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4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при наличии 2 орфографических и 2 пунктуационных ошибок, или 1 орфографической и 3 пунктуационных ошибок, или 4 пунктуационных при отсутствии орфографических ошибок. Оценка «4» может выставляться при 3 орфографических ошибках, если среди них есть однотипные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3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ы 3-5 орфографических и 4 пунктуационных ошибок. Оценка «3» может быть поставлена также при наличии 6 орфографических и 6 пунктуационных ошибках, если среди тех и других имеются однотипные и негрубые ошибки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2»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о до 7 и более орфографических и 7 пунктуационных ошибок, или 6 орфографических и 8 пунктуационных ошибок, 5 орфографических и 9 пунктуационных ошибок, 8 орфографических и 6 пунктуационных ошибок.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81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3721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914</TotalTime>
  <Words>1383</Words>
  <Application>Microsoft Office PowerPoint</Application>
  <PresentationFormat>Широкоэкранный</PresentationFormat>
  <Paragraphs>121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0" baseType="lpstr">
      <vt:lpstr>Arial</vt:lpstr>
      <vt:lpstr>Arial Unicode MS</vt:lpstr>
      <vt:lpstr>Calibri</vt:lpstr>
      <vt:lpstr>Calibri Light</vt:lpstr>
      <vt:lpstr>Times New Roman</vt:lpstr>
      <vt:lpstr>Тема Office</vt:lpstr>
      <vt:lpstr>Светлые слайды</vt:lpstr>
      <vt:lpstr>1_Светлые слайды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USER</cp:lastModifiedBy>
  <cp:revision>1192</cp:revision>
  <cp:lastPrinted>2024-11-27T07:34:40Z</cp:lastPrinted>
  <dcterms:created xsi:type="dcterms:W3CDTF">2020-02-25T09:30:21Z</dcterms:created>
  <dcterms:modified xsi:type="dcterms:W3CDTF">2024-11-27T13:14:35Z</dcterms:modified>
</cp:coreProperties>
</file>